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  <p:sldMasterId id="2147483673" r:id="rId3"/>
    <p:sldMasterId id="2147483696" r:id="rId4"/>
  </p:sldMasterIdLst>
  <p:notesMasterIdLst>
    <p:notesMasterId r:id="rId25"/>
  </p:notesMasterIdLst>
  <p:handoutMasterIdLst>
    <p:handoutMasterId r:id="rId26"/>
  </p:handoutMasterIdLst>
  <p:sldIdLst>
    <p:sldId id="375" r:id="rId5"/>
    <p:sldId id="2145706923" r:id="rId6"/>
    <p:sldId id="2145706916" r:id="rId7"/>
    <p:sldId id="2145706902" r:id="rId8"/>
    <p:sldId id="2145706900" r:id="rId9"/>
    <p:sldId id="2145706894" r:id="rId10"/>
    <p:sldId id="275" r:id="rId11"/>
    <p:sldId id="276" r:id="rId12"/>
    <p:sldId id="277" r:id="rId13"/>
    <p:sldId id="2145706890" r:id="rId14"/>
    <p:sldId id="2145706934" r:id="rId15"/>
    <p:sldId id="2145706892" r:id="rId16"/>
    <p:sldId id="2145706910" r:id="rId17"/>
    <p:sldId id="2145706911" r:id="rId18"/>
    <p:sldId id="2145706909" r:id="rId19"/>
    <p:sldId id="2145706932" r:id="rId20"/>
    <p:sldId id="2145706933" r:id="rId21"/>
    <p:sldId id="300" r:id="rId22"/>
    <p:sldId id="2145706885" r:id="rId23"/>
    <p:sldId id="2145706906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 " lastIdx="1" clrIdx="0"/>
  <p:cmAuthor id="1" name="Karen" initials="K" lastIdx="2" clrIdx="1"/>
  <p:cmAuthor id="2" name="Stetler, Katie (DPH)" initials="SK(" lastIdx="5" clrIdx="2"/>
  <p:cmAuthor id="3" name="Wood, Ben (DPH)" initials="WB(" lastIdx="6" clrIdx="3"/>
  <p:cmAuthor id="4" name="Tamar Kaim Doniger" initials="TKD" lastIdx="2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6BB"/>
    <a:srgbClr val="01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422" autoAdjust="0"/>
    <p:restoredTop sz="66397" autoAdjust="0"/>
  </p:normalViewPr>
  <p:slideViewPr>
    <p:cSldViewPr snapToGrid="0" snapToObjects="1">
      <p:cViewPr varScale="1">
        <p:scale>
          <a:sx n="65" d="100"/>
          <a:sy n="65" d="100"/>
        </p:scale>
        <p:origin x="-1374" y="-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1452"/>
    </p:cViewPr>
  </p:sorterViewPr>
  <p:notesViewPr>
    <p:cSldViewPr snapToGrid="0" snapToObjects="1">
      <p:cViewPr varScale="1">
        <p:scale>
          <a:sx n="68" d="100"/>
          <a:sy n="68" d="100"/>
        </p:scale>
        <p:origin x="-3306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3EE6C5-4F47-4445-8BCE-B8BE9FB65DE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A8D0D6-5496-4D9E-81CA-3E43FBC8E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02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A6C4BF5-E566-BD4E-BF84-8EF979555B2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34CBBDB-52D0-FE4C-8729-D7393D454E1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Notas:</a:t>
            </a:r>
          </a:p>
          <a:p>
            <a:endParaRPr lang="pt-BR" dirty="0" smtClean="0"/>
          </a:p>
          <a:p>
            <a:r>
              <a:rPr lang="pt-BR" dirty="0" smtClean="0"/>
              <a:t>Principais atualizações desde a versão passada (datada de 06/01)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 smtClean="0"/>
              <a:t>Informações atualizadas</a:t>
            </a:r>
            <a:r>
              <a:rPr lang="pt-BR" baseline="0" dirty="0" smtClean="0"/>
              <a:t> sobre a elegibilidade para a dose de reforço para pessoas que receberam a vacina da Moderna (slide 17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541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>
                <a:solidFill>
                  <a:srgbClr val="000000"/>
                </a:solidFill>
                <a:latin typeface="Open Sans" panose="020B0606030504020204" pitchFamily="34" charset="0"/>
              </a:rPr>
              <a:t>Se seu filho apresentar uma reação alérgica grave após receber uma vacina contra a COVID-19, os fornecedores da vacina poderão prestar cuidados rapidamente e ligar para os serviços médicos de emergência, caso necessári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  <a:p>
            <a:pPr algn="l"/>
            <a:r>
              <a:rPr lang="pt-BR" b="0" i="0">
                <a:solidFill>
                  <a:srgbClr val="000000"/>
                </a:solidFill>
                <a:latin typeface="Open Sans" panose="020B0606030504020204" pitchFamily="34" charset="0"/>
              </a:rPr>
              <a:t>Peça ao profissional de saúde do seu filho orientações sobre usar um analgésico que não seja ácido acetilsalicílico e outras medidas que você pode fazer em casa após o seu filho ser vacinado. </a:t>
            </a:r>
            <a:r>
              <a:rPr lang="pt-BR" i="0">
                <a:solidFill>
                  <a:srgbClr val="000000"/>
                </a:solidFill>
                <a:latin typeface="Open Sans" panose="020B0606030504020204" pitchFamily="34" charset="0"/>
              </a:rPr>
              <a:t>Em geral, o ácido acetilsalicílico </a:t>
            </a:r>
            <a:r>
              <a:rPr lang="pt-BR" b="1" i="0">
                <a:solidFill>
                  <a:srgbClr val="000000"/>
                </a:solidFill>
                <a:latin typeface="Open Sans" panose="020B0606030504020204" pitchFamily="34" charset="0"/>
              </a:rPr>
              <a:t>não é recomendado</a:t>
            </a:r>
            <a:r>
              <a:rPr lang="pt-BR" i="0">
                <a:solidFill>
                  <a:srgbClr val="000000"/>
                </a:solidFill>
                <a:latin typeface="Open Sans" panose="020B0606030504020204" pitchFamily="34" charset="0"/>
              </a:rPr>
              <a:t> para uso em crianças e adolescentes com menos de 18 anos de idade.</a:t>
            </a:r>
            <a:r>
              <a:rPr lang="pt-BR" b="0" i="0">
                <a:solidFill>
                  <a:srgbClr val="000000"/>
                </a:solidFill>
                <a:latin typeface="Open Sans" panose="020B0606030504020204" pitchFamily="34" charset="0"/>
              </a:rPr>
              <a:t> Colocar um pano gelado e úmido no local da injeção pode ajudar no desconforto.</a:t>
            </a:r>
          </a:p>
          <a:p>
            <a:r>
              <a:rPr lang="pt-BR"/>
              <a:t/>
            </a:r>
            <a:br>
              <a:rPr lang="pt-BR"/>
            </a:br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4104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>
                <a:solidFill>
                  <a:srgbClr val="000000"/>
                </a:solidFill>
                <a:latin typeface="Open Sans" panose="020B0606030504020204" pitchFamily="34" charset="0"/>
              </a:rPr>
              <a:t> </a:t>
            </a:r>
          </a:p>
          <a:p>
            <a:r>
              <a:rPr lang="pt-BR"/>
              <a:t/>
            </a:r>
            <a:br>
              <a:rPr lang="pt-BR"/>
            </a:br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52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bora exista uma chance pequena de que as vacinas contra a COVID-19 possam causar uma reação alérgica grave, isso normalmente aconteceria em alguns minutos a uma hora após receber a vacina.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pt-BR" sz="12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ais de reação alérgica grave podem incluir: </a:t>
            </a:r>
          </a:p>
          <a:p>
            <a:r>
              <a:rPr lang="pt-BR" sz="12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Dificuldade respiratória </a:t>
            </a:r>
          </a:p>
          <a:p>
            <a:r>
              <a:rPr lang="pt-BR" sz="12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Inchaço do rosto e garganta </a:t>
            </a:r>
          </a:p>
          <a:p>
            <a:r>
              <a:rPr lang="pt-BR" sz="12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Batimento cardíaco acelerado </a:t>
            </a:r>
          </a:p>
          <a:p>
            <a:r>
              <a:rPr lang="pt-BR" sz="12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Erupções cutâneas intensas por todo o corpo </a:t>
            </a:r>
          </a:p>
          <a:p>
            <a:r>
              <a:rPr lang="pt-BR" sz="12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Tontura e fraqueza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 o seu filho tiver histórico de reações alérgicas, o aplicador da vacina poderá pedir que ele permaneça por mais tempo no local onde foi vacinado para monitoramento subsequente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28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Fonte:  https://www.cdc.gov/coronavirus/2019-ncov/vaccines/faq-children.htm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557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 vacinas ensinam nosso sistema imunológico a lutar contra um vírus específico. Elas trabalham com as defesas naturais do seu corpo para desenvolver com segurança imunidade contra uma doença.  Para fazer seu trabalho, a vacina contra a COVID-19 não precisa entrar no núcleo da célula, que é onde está nosso DNA. Isso significa que a vacina nunca interage com nosso DNA de alguma forma e não tem como alterá-lo. </a:t>
            </a:r>
          </a:p>
          <a:p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o final do processo, nossos corpos aprendem como se proteger de infecções futuras. Essa resposta imune e a criação de anticorpos é o que nos protege de sermos infectados caso o vírus real entre em nossos corpos. (fonte: </a:t>
            </a:r>
            <a:r>
              <a:rPr lang="pt-BR" sz="1200" u="sng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s://www.cdc.gov/coronavirus/2019-ncov/vaccines/facts.html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030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6603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r>
              <a:rPr lang="pt-BR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bservações sobre a Ômicron (fonte:  https://www.cdc.gov/coronavirus/2019-ncov/variants/about-variants.html) </a:t>
            </a:r>
          </a:p>
          <a:p>
            <a:pPr marL="0" marR="0" lvl="0" indent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0" i="0">
                <a:solidFill>
                  <a:srgbClr val="000000"/>
                </a:solidFill>
                <a:latin typeface="Open Sans" panose="020B0606030504020204" pitchFamily="34" charset="0"/>
              </a:rPr>
              <a:t>Evidências iniciais sugerem que pessoas totalmente vacinadas que se infectam com a variante Ômicron podem espalhar o vírus para outras pessoa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0" i="0">
                <a:solidFill>
                  <a:srgbClr val="000000"/>
                </a:solidFill>
                <a:latin typeface="Open Sans" panose="020B0606030504020204" pitchFamily="34" charset="0"/>
              </a:rPr>
              <a:t>A emergência recente da variante Ômicron enfatiza ainda mais a importância da vacinação e doses de reforç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8473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800">
                <a:latin typeface="Calibri" panose="020F0502020204030204" pitchFamily="34" charset="0"/>
                <a:ea typeface="Calibri" panose="020F0502020204030204" pitchFamily="34" charset="0"/>
              </a:rPr>
              <a:t>Você pode escolher qual vacina de reforço deseja tomar. Algumas pessoas podem preferir o tipo que receberam originalmente, outras podem preferir uma dose de reforço diferent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0" i="0">
                <a:solidFill>
                  <a:srgbClr val="141414"/>
                </a:solidFill>
                <a:latin typeface="Noto Sans VF"/>
              </a:rPr>
              <a:t>Os efeitos colaterais após a dose de reforço são semelhantes àqueles após a segunda dose. 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/>
              <a:t>Você ainda é considerado completamente vacinado se não receber uma dose de reforço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b="0" i="0">
                <a:solidFill>
                  <a:srgbClr val="141414"/>
                </a:solidFill>
                <a:latin typeface="Noto Sans VF"/>
              </a:rPr>
              <a:t>Você pode tomar uma vacina contra a COVID-19 e outras vacinas, como vacina contra gripe ou herpes-zóster ao mesmo tempo ou com intervalo de tempo próximo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>
                <a:latin typeface="Calibri" panose="020F0502020204030204" pitchFamily="34" charset="0"/>
                <a:cs typeface="Calibri" panose="020F0502020204030204" pitchFamily="34" charset="0"/>
              </a:rPr>
              <a:t>Você não precisa de ID ou seguro de saúde e nem mostrar a carteira de vacinação. 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/>
              <a:t>Para respostas a perguntas mais frequentes sobre as doses de reforço, visite: </a:t>
            </a:r>
            <a:r>
              <a:rPr lang="pt-BR" b="1"/>
              <a:t>https://www.mass.gov/info-details/covid-19-booster-frequently-asked-ques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9483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ses métodos aplicam-se também a pessoas que buscam as doses de reforço.</a:t>
            </a:r>
          </a:p>
          <a:p>
            <a:pPr marL="171450" marR="0" lvl="0" indent="-1714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Linha de Recursos de Agendamento é para pessoas que não podem acessar a internet. Ela está disponível em 100 idiomas. Os representantes têm o mesmo acesso aos agendamentos do website público. Os horários são:</a:t>
            </a:r>
          </a:p>
          <a:p>
            <a:pPr marL="628650" lvl="1" indent="-171450">
              <a:buFontTx/>
              <a:buChar char="-"/>
            </a:pPr>
            <a:r>
              <a:rPr lang="pt-BR" sz="1200">
                <a:ea typeface="Calibri" panose="020F0502020204030204" pitchFamily="34" charset="0"/>
                <a:cs typeface="Times New Roman" panose="02020603050405020304" pitchFamily="18" charset="0"/>
              </a:rPr>
              <a:t>Segunda a quinta-feira das 8h30 às 20h00</a:t>
            </a:r>
          </a:p>
          <a:p>
            <a:pPr marL="628650" lvl="1" indent="-171450">
              <a:buFontTx/>
              <a:buChar char="-"/>
            </a:pPr>
            <a:r>
              <a:rPr lang="pt-BR" sz="1200">
                <a:ea typeface="Calibri" panose="020F0502020204030204" pitchFamily="34" charset="0"/>
                <a:cs typeface="Times New Roman" panose="02020603050405020304" pitchFamily="18" charset="0"/>
              </a:rPr>
              <a:t>Sexta-feira a domingo das 8h30 às 17h00</a:t>
            </a:r>
          </a:p>
          <a:p>
            <a:pPr marL="171450" lvl="0" indent="-171450">
              <a:buFontTx/>
              <a:buChar char="-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1AA723-8E7C-466C-9B48-1A291385479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998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>
                <a:latin typeface="Calibri" panose="020F0502020204030204" pitchFamily="34" charset="0"/>
                <a:cs typeface="Calibri" panose="020F0502020204030204" pitchFamily="34" charset="0"/>
              </a:rPr>
              <a:t>O seguro de saúde (incluindo Medicare e Medicaid) cobrirá os custos da administração da vacina. Traga o cartão do seu seguro de saúde, caso tenha um. Seu seguro será cobrado sem custos para você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>
                <a:latin typeface="Calibri" panose="020F0502020204030204" pitchFamily="34" charset="0"/>
                <a:cs typeface="Calibri" panose="020F0502020204030204" pitchFamily="34" charset="0"/>
              </a:rPr>
              <a:t>Os profissionais de saúde também podem ser reembolsados pelo governo federal pelo custo de administração da vacina em imigrantes sem documento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059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4503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177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="0" i="0">
                <a:solidFill>
                  <a:srgbClr val="000000"/>
                </a:solidFill>
                <a:latin typeface="Open Sans"/>
              </a:rPr>
              <a:t>Fontes: </a:t>
            </a:r>
          </a:p>
          <a:p>
            <a:endParaRPr lang="en-US" b="0" i="0" dirty="0">
              <a:solidFill>
                <a:srgbClr val="000000"/>
              </a:solidFill>
              <a:effectLst/>
              <a:latin typeface="Open Sans"/>
            </a:endParaRPr>
          </a:p>
          <a:p>
            <a:r>
              <a:rPr lang="pt-BR"/>
              <a:t>https://www.cdc.gov/vaccines/hcp/conversations/understanding-vacc-work.html </a:t>
            </a:r>
          </a:p>
          <a:p>
            <a:endParaRPr lang="en-US" dirty="0"/>
          </a:p>
          <a:p>
            <a:r>
              <a:rPr lang="pt-BR"/>
              <a:t>https://www.cdc.gov/vaccines/vpd/vpd-vac-basics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434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Fonte: https://www.cdc.gov/coronavirus/2019-ncov/vaccines/recommendations/children-teens.html </a:t>
            </a:r>
            <a:br>
              <a:rPr lang="pt-BR"/>
            </a:br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8688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800">
                <a:latin typeface="Calibri" panose="020F0502020204030204" pitchFamily="34" charset="0"/>
                <a:cs typeface="Calibri" panose="020F0502020204030204" pitchFamily="34" charset="0"/>
              </a:rPr>
              <a:t>A vacina da Pfizer é autorizada para pessoas a partir de 5 anos de idade e tem aprovação total para pessoas a partir de 16 anos de idad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u="none" dirty="0">
              <a:solidFill>
                <a:srgbClr val="00808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800" b="1" u="none">
                <a:solidFill>
                  <a:srgbClr val="00808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 que significa a vacina da Pfizer contra a COVID-19 ter a aprovação da FDA?</a:t>
            </a:r>
            <a:r>
              <a:rPr lang="pt-BR" sz="1800" u="none">
                <a:solidFill>
                  <a:srgbClr val="00808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pt-BR" sz="1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m 23/08/21, a FDA aprovou a primeira vacina contra a COVID-19. A vacina é conhecida como Vacina da Pfizer contra a COVID-19 e agora será comercializada como Comirnaty, para prevenção da COVID-19 em pessoas a partir de 16 anos de idade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pt-BR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irnaty é a mesma vacina que a vacina da Pfizer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pt-BR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vacina da Pfizer também está disponível sob autorização de uso emergencial (AUE) para pessoas de 5 a 15 anos de idade e para uma terceira dose para certos indivíduos imunocomprometidos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pt-BR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arada a uma AUE, a aprovação de vacinas pela FDA exige ainda mais dados sobre segurança, fabricação e eficácia por períodos de tempo maiores e inclui dados do mundo real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pt-BR" sz="1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aprovação completa pela FDA significa que a vacina Comirnaty agora tem o mesmo nível de aprovação de outras vacinas rotineiramente usadas nos EUA, como vacinas para hepatite, sarampo, varicela e poliomielite.</a:t>
            </a:r>
            <a:r>
              <a:rPr lang="pt-BR" sz="1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Char char=""/>
            </a:pPr>
            <a:r>
              <a:rPr lang="pt-BR" sz="1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vacina da Pfizer contra a COVID-19 foi a primeira vacina a receber autorização emergencial, que é o motivo pelo qual é a primeira a ter dados suficientes para receber a aprovação completa. Isso não quer dizer nada sobre a segurança e eficácia da vacina da Moderna ou Johnson &amp; Johnson.</a:t>
            </a:r>
          </a:p>
          <a:p>
            <a:endParaRPr lang="en-US" dirty="0"/>
          </a:p>
          <a:p>
            <a:r>
              <a:rPr lang="pt-BR" b="1"/>
              <a:t>O que é uma Autorização de Uso Emergencial (AUE)? </a:t>
            </a:r>
          </a:p>
          <a:p>
            <a:r>
              <a:rPr lang="pt-BR"/>
              <a:t>A FDA dos Estados Unidos disponibilizou as vacinas Pfizer, Moderna e Janssen contra a COVID-19 sob um mecanismo emergencial chamado AUE. A AUE é respaldada por uma declaração da Secretaria de Saúde e Serviços Humanos (HHS) de que uma situação existe para justificar o uso emergencial de produtos farmacêuticos durante a pandemia da COVID-19.</a:t>
            </a:r>
          </a:p>
          <a:p>
            <a:endParaRPr lang="en-US" dirty="0"/>
          </a:p>
          <a:p>
            <a:r>
              <a:rPr lang="pt-BR"/>
              <a:t>A FDA pode emitir uma AUE quando certos critérios forem atendidos, o que inclui a não existência de alternativas adequadas, aprovadas e disponíveis. A decisão da FDA também se baseia em evidências científicas que mostram que o produto pode ser eficaz para prevenir a COVID-19 durante a pandemia e que os benefícios conhecidos e potenciais do produto superam os riscos. Todos esses critérios devem ser cumpridos para permitir que o produto seja usado durante a pandemia da COVID-19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461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Font typeface="Symbol" panose="05050102010706020507" pitchFamily="18" charset="2"/>
              <a:buNone/>
            </a:pPr>
            <a:r>
              <a:rPr lang="pt-BR" sz="1800" u="none">
                <a:solidFill>
                  <a:srgbClr val="00808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Vacina da Pfizer contra a COVID-19 é mais de 90% eficaz na prevenção da COVID-19 em crianças de 5 a 11 anos de idad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612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0" name="Google Shape;410;p80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r>
              <a:rPr lang="pt-BR" sz="12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ós compreendemos a importância de sermos abertos e honestos sobre a segurança e desenvolvimento da vacina, especialmente em comunidades que sofreram as consequências do mau tratamento médico.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pt-BR" sz="1200">
                <a:latin typeface="Calibri" panose="020F0502020204030204" pitchFamily="34" charset="0"/>
                <a:cs typeface="Calibri" panose="020F0502020204030204" pitchFamily="34" charset="0"/>
              </a:rPr>
              <a:t>É importante saber que as vacinas passam por mais testes do que qualquer outro produto farmacêutico.  Antes de uma vacina ser disponibilizada, esta deve passar por desenvolvimento e testes rigorosos. O processo de fabricação é crítico e cada dose deve ser de alta qualidade consistentemente. Adicionalmente, há testes extensivos nos estudos clínicos para comprovar a segurança.  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>
                <a:latin typeface="Calibri" panose="020F0502020204030204" pitchFamily="34" charset="0"/>
                <a:cs typeface="Calibri" panose="020F0502020204030204" pitchFamily="34" charset="0"/>
              </a:rPr>
              <a:t>Fonte: https://www.cdc.gov/coronavirus/2019-ncov/vaccines/safety.html  </a:t>
            </a: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411" name="Google Shape;411;p80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g79ce8b2f6a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7" name="Google Shape;427;g79ce8b2f6a_0_5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200" cy="366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pt-BR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gurança é uma prioridade principal, e o monitoramento da segurança das vacinas contra a COVID-19 tem sido o mais intenso e abrangente da história dos EUA. </a:t>
            </a:r>
          </a:p>
          <a:p>
            <a:pPr marL="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428" name="Google Shape;428;g79ce8b2f6a_0_5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00" cy="46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1" name="Google Shape;441;p8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vacina contra a COVID-19 foi desenvolvida rapidamente, mas com as mesmas etapas de segurança seguidas em todas as outras vacinas. </a:t>
            </a:r>
          </a:p>
          <a:p>
            <a:r>
              <a:rPr lang="pt-BR" sz="1200"/>
              <a:t>As empresas que fabricam vacinas trabalharam rapidamente, pois:</a:t>
            </a:r>
          </a:p>
          <a:p>
            <a:r>
              <a:rPr lang="pt-BR" sz="1200" b="1" i="1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</a:p>
          <a:p>
            <a:pPr marL="457200" lvl="0" indent="-457200">
              <a:buFont typeface="+mj-lt"/>
              <a:buAutoNum type="arabicPeriod"/>
            </a:pPr>
            <a:r>
              <a:rPr lang="pt-BR" sz="1200" b="1" i="1">
                <a:latin typeface="Calibri" panose="020F0502020204030204" pitchFamily="34" charset="0"/>
                <a:cs typeface="Calibri" panose="020F0502020204030204" pitchFamily="34" charset="0"/>
              </a:rPr>
              <a:t>Já tínhamos informações úteis: </a:t>
            </a:r>
            <a:r>
              <a:rPr lang="pt-BR" sz="1200">
                <a:latin typeface="Calibri" panose="020F0502020204030204" pitchFamily="34" charset="0"/>
                <a:cs typeface="Calibri" panose="020F0502020204030204" pitchFamily="34" charset="0"/>
              </a:rPr>
              <a:t>O vírus da COVID-19 é parte da família do coronavírus, que tem sido estudada há muito tempo. Os especialistas obtiveram informações importantes de outros surtos de coronavírus que os ajudaram a desenvolver a vacina contra a COVID-19, então não começamos do zero. </a:t>
            </a:r>
          </a:p>
          <a:p>
            <a:pPr marL="457200" lvl="0" indent="-457200">
              <a:buFont typeface="+mj-lt"/>
              <a:buAutoNum type="arabicPeriod"/>
            </a:pP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pt-BR" sz="1200" b="1" i="1">
                <a:latin typeface="Calibri" panose="020F0502020204030204" pitchFamily="34" charset="0"/>
                <a:cs typeface="Calibri" panose="020F0502020204030204" pitchFamily="34" charset="0"/>
              </a:rPr>
              <a:t>Os governos financiaram as pesquisas sobre a vacina:</a:t>
            </a:r>
            <a:r>
              <a:rPr lang="pt-BR" sz="1200">
                <a:latin typeface="Calibri" panose="020F0502020204030204" pitchFamily="34" charset="0"/>
                <a:cs typeface="Calibri" panose="020F0502020204030204" pitchFamily="34" charset="0"/>
              </a:rPr>
              <a:t> O governo dos EUA e outros governos investiram muito dinheiro para promover o trabalho das empresas fabricantes de vacinas. Trabalhar em conjunto com outros países também ajudou os pesquisadores a avançarem mais rapidamente.</a:t>
            </a:r>
          </a:p>
          <a:p>
            <a:pPr marL="457200" lvl="0" indent="-457200">
              <a:buFont typeface="+mj-lt"/>
              <a:buAutoNum type="arabicPeriod"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pt-BR" sz="1200" b="1" i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zenas de milhares de pessoas participaram de estudos sobre a vacina:</a:t>
            </a:r>
            <a:r>
              <a:rPr lang="pt-BR" sz="12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Estudos da vacina (chamados Estudos Clínicos) foram conduzidos para provar que a vacina é segura e eficaz. Dezenas de milhares de pessoas se inscreveram para os estudos, então as empresas não precisaram perder muito tempo para encontrar voluntários.</a:t>
            </a:r>
          </a:p>
          <a:p>
            <a:pPr marL="457200" lvl="0" indent="-457200">
              <a:buFont typeface="+mj-lt"/>
              <a:buAutoNum type="arabicPeriod"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pt-BR" sz="1200" b="1" i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fabricação aconteceu ao mesmo tempo que os estudos de segurança:</a:t>
            </a:r>
            <a:r>
              <a:rPr lang="pt-BR" sz="12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As empresas fabricantes de vacinas começaram a fabricar a vacina ao mesmo tempo que os estudos estavam acontecendo, na esperança de que fossem comprovadas como seguras e eficientes. Isso significa que as vacinas estavam prontas para serem distribuídas assim que fossem aprovadas.</a:t>
            </a:r>
          </a:p>
          <a:p>
            <a:pPr marL="457200" lvl="0" indent="-457200">
              <a:buFont typeface="+mj-lt"/>
              <a:buAutoNum type="arabicPeriod"/>
            </a:pP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442" name="Google Shape;442;p8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tags" Target="../tags/tag27.xml"/><Relationship Id="rId11" Type="http://schemas.openxmlformats.org/officeDocument/2006/relationships/image" Target="../media/image8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11" Type="http://schemas.openxmlformats.org/officeDocument/2006/relationships/image" Target="../media/image8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7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5.vml"/><Relationship Id="rId6" Type="http://schemas.openxmlformats.org/officeDocument/2006/relationships/tags" Target="../tags/tag50.xml"/><Relationship Id="rId11" Type="http://schemas.openxmlformats.org/officeDocument/2006/relationships/image" Target="../media/image8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image" Target="../media/image8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image" Target="../media/image8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vmlDrawing" Target="../drawings/vmlDrawing8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9.emf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9.emf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8.emf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image" Target="../media/image8.emf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6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05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9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4.xml"/><Relationship Id="rId11" Type="http://schemas.openxmlformats.org/officeDocument/2006/relationships/image" Target="../media/image7.emf"/><Relationship Id="rId5" Type="http://schemas.openxmlformats.org/officeDocument/2006/relationships/tags" Target="../tags/tag12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8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150th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B9E6C06E-03B8-7949-8144-A02BF1F0C7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521" y="15"/>
            <a:ext cx="1185447" cy="248749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76420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5B8B53-90FF-4B4A-8E39-998C0E156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898DCD7-FE2E-4ED5-91E3-FCACD0BA21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F7FDC17-09CF-4151-9D91-243706681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1E33274-C746-4730-B550-5ABDCA932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3B407E-36DF-4E17-9DE8-1A9557FAD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976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D00E4E-288D-4844-BD96-1CB09ACB6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289D781-AD92-424A-89CA-AE7512FD8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9E8A40A-BCF2-45E9-ABE8-52F81B2D6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8E643A1-836C-4217-A9CC-92209A328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A321261-AC99-4E20-84F9-63B0CBB01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865C488-2E7E-4366-966A-2E9747808E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108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221EFD3-1EF5-467C-9F9A-F992F9613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49032D-29D7-4055-A58D-32C818DD3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62F5B48-B437-4764-8A20-C06E433B35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C23693-01E2-4A43-B18A-708C72CBCD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415201AE-B22B-4125-9B7A-9D75D47FA5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BCCD42B9-52C6-4FFE-AEEB-A6A7FE0B8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F943F02-4FAB-4B2E-B1D2-5B657AD19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3E52434-DD28-4162-81DD-6EA67C19A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123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B3BF78-FBCC-45C7-B31D-E4F3C07C7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B67FBE-FC23-4D8D-AC8F-998044EED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F6FBE9F-CC87-4F2D-AFB2-A783706E6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061D058-1BD7-4174-AA50-5FFF83D13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629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24542A7-C082-4CFA-AA73-33681F1CE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BD9DB6BD-DBA1-4A80-907B-D03CAEEF5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1CBF653-3E4E-4CF4-B628-394E9B463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58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C1BED2-26AE-47E3-A613-5EDD32E3D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96BDF38-40D7-48E2-9014-1D9E59C515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7D7AB12-3217-4BD1-8A6F-22EA4D4130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0293CD9-85FC-4B00-AD61-AB97952BC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607B67F-56C9-4D00-9465-4F3E2123D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800BB0B-2BA9-4E97-A244-DF9A3155F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6177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F93323-0A85-4290-A635-1BC59E834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8B57170-E62F-48B7-9469-4F788733EF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2D10CCC-7279-4D26-A26D-A12C434441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66A7469-F7C0-43A5-BB85-C848BFB0D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34B19B1-55E2-41A7-A28D-00D5C2315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8EC9747-F606-42BA-BDB0-CA8D4D021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159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E2621C0-39E0-44C2-9A9F-9437DEB0E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A59E6C2-ABFA-4F8B-8826-13D6CD5BFC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2C34CD8-47B7-43D7-AA30-992C53580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0369878-CBF5-4254-9CF4-B90DDE318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5C55C78-9714-478D-A579-3DBA41102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53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C841A757-A595-43FF-B487-0A2487E647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3782295D-F814-474C-82A9-7468458674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53A2CB6-F237-4D9D-934A-7A86B3A55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8ABAD40-2D77-4D91-ACF1-97A11C17E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D7D05F6-F9C5-43F0-9868-4C6F65878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2813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035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4703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xmlns="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xmlns="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896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xmlns="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xmlns="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E3E43528-CD26-468A-9D6D-59D3816B67D2}"/>
              </a:ext>
            </a:extLst>
          </p:cNvPr>
          <p:cNvSpPr txBox="1"/>
          <p:nvPr userDrawn="1"/>
        </p:nvSpPr>
        <p:spPr>
          <a:xfrm>
            <a:off x="11394019" y="6435725"/>
            <a:ext cx="278341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811798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xmlns="" id="{975D1B44-661B-4F7B-B8A0-9C458417D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12" imgW="572" imgH="588" progId="TCLayout.ActiveDocument.1">
                  <p:embed/>
                </p:oleObj>
              </mc:Choice>
              <mc:Fallback>
                <p:oleObj name="think-cell Slide" r:id="rId12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6743208-2407-42A5-AA96-0B30899A9C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xmlns="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25929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xmlns="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xmlns="" id="{335AEFB6-D0FB-42BD-A7D9-B038003F9038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2732672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xmlns="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xmlns="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xmlns="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06565"/>
            <a:ext cx="3813048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0ABC9AF6-5160-4451-8ECE-0567926D2BD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33275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xmlns="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090450"/>
            <a:ext cx="5065776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xmlns="" id="{D5D9F919-7521-44EA-9A91-4EC8F5D2210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94267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4919246"/>
            <a:ext cx="11082528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4F0D16F9-FC38-440D-888F-B825EE88DEB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157164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xmlns="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6C9713CF-4FEA-4739-B0A0-6B196442AE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505712" y="3841050"/>
            <a:ext cx="9180576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505712" y="428463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xmlns="" id="{5D34B3BD-8BCA-4033-B144-D029D5A6161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22230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xmlns="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xmlns="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413760" y="0"/>
            <a:ext cx="877824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xmlns="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252111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8" y="41598"/>
            <a:ext cx="252111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48218" y="3636553"/>
            <a:ext cx="252111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48218" y="2502262"/>
            <a:ext cx="252111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44C1EF3F-8633-48A1-9E13-6964B8387937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997073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xmlns="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4364736" y="0"/>
            <a:ext cx="782726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xmlns="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347600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48218" y="2840816"/>
            <a:ext cx="3476007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48217" y="3636553"/>
            <a:ext cx="3462528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C6F7C55D-688F-462A-99C0-63216457577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78885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xmlns="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515918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5159180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5159180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F6423CDC-10C6-4893-AAB3-4DC3BAB587D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39227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771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xmlns="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xmlns="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6967303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6967303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696730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C494F823-6042-40C6-94CD-0F980C6F2DF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224422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501670"/>
            <a:ext cx="79248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3736"/>
            <a:ext cx="79248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xmlns="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525929"/>
            <a:ext cx="79248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xmlns="" id="{4BA71C2D-8769-4A52-BEB4-7C780187BFA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112821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xmlns="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E3C08BE2-DFA5-4DF3-81CF-C757EBD94F2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xmlns="" id="{5B035A1A-50B6-45E3-9869-D14473D397A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28067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xmlns="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047C437-9378-4088-A289-F201ABA447D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xmlns="" id="{49991C03-7F48-47F1-B3A9-19D7D1A4653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053920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xmlns="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xmlns="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xmlns="" id="{3925F7DB-235B-4011-96E3-49D4B5E6FEEF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17980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F83F29-890E-466D-B3C1-AB5022B71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213D292-91ED-4336-8E66-F27B2FF9A8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F205850-3431-42F9-B04B-4E21EEDCD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519A7-4256-4AB7-A86A-4534FE174684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500AFB6-042F-4F07-8DD2-7FF1DFA84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E0761DE-742E-4BB8-921A-D92235965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FC1DB-3780-4B41-B9AB-3ECF7C4ABC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733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6"/>
            <a:ext cx="12192000" cy="1144121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5" y="283853"/>
            <a:ext cx="10423375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xmlns="" id="{6612BE03-D243-41B4-AFEA-AC1446BA13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801" y="36383"/>
            <a:ext cx="1343467" cy="10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4011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9148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-110836" y="18031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949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937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4AF37ED-E52C-D04B-BD70-B183C03E603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6BF9CA7-3F15-9446-8EB4-C69A477911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E6C81A7-EF54-644A-A3A3-A900741EE329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93944A5-DA90-DB40-BCC8-0A6C4A82F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0DFBDE89-FFE1-E340-9D69-8210BFC18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C11C5B4-7BBB-FC41-86C0-AAB19811817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223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9387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614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3457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5982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6134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7316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3001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799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868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0803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1036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9720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72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61A8284-67CC-404B-90F5-554DCBF91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097280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A90A712-FBB8-5B49-9A19-7524CF76EC3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9" y="1920238"/>
            <a:ext cx="5157787" cy="4297680"/>
          </a:xfrm>
          <a:prstGeom prst="rect">
            <a:avLst/>
          </a:prstGeo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5855752-6A74-934C-B334-F2DD6B79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097280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51ED7E2-1F15-7C46-9001-20B2F8A00C5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3" y="1920238"/>
            <a:ext cx="5183188" cy="4297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99027F3-96A1-F54F-89E8-F47E6B10DE1B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7CFBF09-BBCF-454C-91A3-1D89A60FA302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EEF3B907-07EC-464A-9168-21644716BC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1561A3A6-AA0A-054F-AD42-397A9574A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6588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5559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7255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xmlns="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8910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with D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63E049E-FD56-F54C-8BAD-BC944A51238B}"/>
              </a:ext>
            </a:extLst>
          </p:cNvPr>
          <p:cNvSpPr txBox="1"/>
          <p:nvPr userDrawn="1"/>
        </p:nvSpPr>
        <p:spPr>
          <a:xfrm>
            <a:off x="721905" y="293879"/>
            <a:ext cx="70866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Connect with DPH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3" name="Picture 2" descr="C:\Users\ABCohen\AppData\Local\Microsoft\Windows\Temporary Internet Files\Content.IE5\43RR80EE\Twitter_bird_logo_2012.svg[1].png">
            <a:extLst>
              <a:ext uri="{FF2B5EF4-FFF2-40B4-BE49-F238E27FC236}">
                <a16:creationId xmlns:a16="http://schemas.microsoft.com/office/drawing/2014/main" xmlns="" id="{4F6B478E-A7A8-1F4E-B422-5CB6507546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285" y="1353783"/>
            <a:ext cx="843195" cy="6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ABCohen\AppData\Local\Microsoft\Windows\Temporary Internet Files\Content.IE5\75V1FWE6\LinkedIn_logo_initials[1].png">
            <a:extLst>
              <a:ext uri="{FF2B5EF4-FFF2-40B4-BE49-F238E27FC236}">
                <a16:creationId xmlns:a16="http://schemas.microsoft.com/office/drawing/2014/main" xmlns="" id="{655629D2-47C3-9740-AF5E-F6DEC31BCC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410" y="2423785"/>
            <a:ext cx="838201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8F5FDECC-88AB-4247-9773-F39572AE3242}"/>
              </a:ext>
            </a:extLst>
          </p:cNvPr>
          <p:cNvSpPr/>
          <p:nvPr userDrawn="1"/>
        </p:nvSpPr>
        <p:spPr>
          <a:xfrm>
            <a:off x="2423333" y="1401900"/>
            <a:ext cx="922020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/>
              <a:t>@</a:t>
            </a:r>
            <a:r>
              <a:rPr lang="en-US" sz="3600" dirty="0" err="1"/>
              <a:t>MassDPH</a:t>
            </a:r>
            <a:endParaRPr lang="en-US" sz="3600" dirty="0"/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Massachusetts Department of Public 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DPH blog</a:t>
            </a:r>
          </a:p>
          <a:p>
            <a:pPr fontAlgn="base"/>
            <a:r>
              <a:rPr lang="en-US" sz="2800" dirty="0"/>
              <a:t>https://blog.mass.gov/public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www.mass.gov/dph</a:t>
            </a:r>
          </a:p>
        </p:txBody>
      </p:sp>
      <p:pic>
        <p:nvPicPr>
          <p:cNvPr id="16" name="Picture 4" descr="C:\Users\ABCohen\AppData\Local\Microsoft\Windows\Temporary Internet Files\Content.Outlook\L5IST9YM\DPHLogo_Blue.png">
            <a:extLst>
              <a:ext uri="{FF2B5EF4-FFF2-40B4-BE49-F238E27FC236}">
                <a16:creationId xmlns:a16="http://schemas.microsoft.com/office/drawing/2014/main" xmlns="" id="{375142A8-4983-3D49-94CC-CD7FE0DAAE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48" y="4887053"/>
            <a:ext cx="1200149" cy="12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AB39DE3C-CDCC-724A-BB9E-78CAF2E049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58" y="3597197"/>
            <a:ext cx="1129705" cy="112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03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FFF011-CC1A-495D-BBFA-DC383FD31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102108E-88F9-4C72-91F5-B708F8FCE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E206C42-6380-48CE-A80C-D03697C5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02BB2EB-0E36-4911-89F5-D612CC70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2F848B3-D757-40D1-953B-2E0B988EF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715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96A18F-96AB-43CC-8EC0-FED81EB72E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A2E8258-D338-4873-A42C-15AE08E7C7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3260C7B-999C-4622-B92F-4E6761F40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57EC8D5-B73E-41C3-B5E5-0640435DD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F1B5B00-D104-4381-A095-47BDC8FEB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999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FFF011-CC1A-495D-BBFA-DC383FD31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102108E-88F9-4C72-91F5-B708F8FCE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E206C42-6380-48CE-A80C-D03697C5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02BB2EB-0E36-4911-89F5-D612CC70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2F848B3-D757-40D1-953B-2E0B988EF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448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21" Type="http://schemas.openxmlformats.org/officeDocument/2006/relationships/tags" Target="../tags/tag1.x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vmlDrawing" Target="../drawings/vmlDrawing1.vml"/><Relationship Id="rId29" Type="http://schemas.openxmlformats.org/officeDocument/2006/relationships/tags" Target="../tags/tag9.xml"/><Relationship Id="rId41" Type="http://schemas.openxmlformats.org/officeDocument/2006/relationships/tags" Target="../tags/tag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3.xml"/><Relationship Id="rId31" Type="http://schemas.openxmlformats.org/officeDocument/2006/relationships/tags" Target="../tags/tag11.xml"/><Relationship Id="rId44" Type="http://schemas.openxmlformats.org/officeDocument/2006/relationships/image" Target="../media/image7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93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2" r:id="rId4"/>
    <p:sldLayoutId id="2147483653" r:id="rId5"/>
    <p:sldLayoutId id="2147483654" r:id="rId6"/>
    <p:sldLayoutId id="2147483712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03F9210B-0E8C-470C-9AFE-A631E695B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4F93E87-097B-4EFB-ABCE-45DD2E37CA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E706769-5B30-4D57-AFE5-C4376BCED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87C15E-ECE1-4EE5-BF79-E8136BD6249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C21EC83-0752-48B2-B11C-CEF1989CA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32E234A-7979-40C5-8FAE-CAE98B897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37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9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xmlns="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3" imgW="572" imgH="588" progId="TCLayout.ActiveDocument.1">
                  <p:embed/>
                </p:oleObj>
              </mc:Choice>
              <mc:Fallback>
                <p:oleObj name="think-cell Slide" r:id="rId43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xmlns="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xmlns="" id="{C4A855FC-965A-4859-83A9-629E80C693B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xmlns="" id="{06E07A66-B8BA-42E8-A0F6-6B0251CAA48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48640" y="6274555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xmlns="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3736"/>
            <a:ext cx="11082528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xmlns="" id="{564EB9F6-AC04-42ED-9CB6-6D01335D9982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 bwMode="blackGray"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xmlns="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xmlns="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xmlns="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xmlns="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xmlns="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xmlns="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xmlns="" id="{F4B31D41-9E38-4C47-B14A-953F41CF2048}"/>
              </a:ext>
            </a:extLst>
          </p:cNvPr>
          <p:cNvSpPr txBox="1"/>
          <p:nvPr userDrawn="1"/>
        </p:nvSpPr>
        <p:spPr>
          <a:xfrm>
            <a:off x="554736" y="83482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xmlns="" id="{6FC9F96D-D74F-4064-BE66-104F69CCE92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4567" y="2133600"/>
            <a:ext cx="4065671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568" y="2155825"/>
            <a:ext cx="2891817" cy="12182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xmlns="" id="{963CCBC6-05DA-41C5-8A26-02B4B8294556}"/>
              </a:ext>
            </a:extLst>
          </p:cNvPr>
          <p:cNvGrpSpPr/>
          <p:nvPr userDrawn="1"/>
        </p:nvGrpSpPr>
        <p:grpSpPr>
          <a:xfrm>
            <a:off x="10522738" y="4396889"/>
            <a:ext cx="944617" cy="1686504"/>
            <a:chOff x="7756825" y="4379430"/>
            <a:chExt cx="708462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xmlns="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xmlns="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xmlns="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xmlns="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xmlns="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xmlns="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xmlns="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xmlns="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xmlns="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xmlns="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xmlns="" id="{F23A354F-6D61-4076-98CC-072D54F2B9B5}"/>
              </a:ext>
            </a:extLst>
          </p:cNvPr>
          <p:cNvGrpSpPr/>
          <p:nvPr userDrawn="1"/>
        </p:nvGrpSpPr>
        <p:grpSpPr>
          <a:xfrm>
            <a:off x="10135957" y="3237562"/>
            <a:ext cx="1331385" cy="927508"/>
            <a:chOff x="7495285" y="2250552"/>
            <a:chExt cx="998539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xmlns="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xmlns="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xmlns="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xmlns="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xmlns="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xmlns="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xmlns="" id="{70A0319B-8EBB-4F65-9A96-1B1BB35625B1}"/>
              </a:ext>
            </a:extLst>
          </p:cNvPr>
          <p:cNvGrpSpPr/>
          <p:nvPr userDrawn="1"/>
        </p:nvGrpSpPr>
        <p:grpSpPr>
          <a:xfrm>
            <a:off x="10487412" y="1289274"/>
            <a:ext cx="979930" cy="1731859"/>
            <a:chOff x="7723680" y="1702457"/>
            <a:chExt cx="734948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xmlns="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xmlns="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xmlns="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xmlns="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xmlns="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xmlns="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xmlns="" id="{5282EEB0-B664-439C-B943-F7BB43CCAC0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xmlns="" id="{68D40D9B-9DF0-4077-8151-E93B0977AD0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xmlns="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xmlns="" id="{578B0A0D-F30C-40C1-A9C4-EB63E6138F4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xmlns="" id="{87395151-2586-43D8-B836-6324CB407891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xmlns="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xmlns="" id="{0D2DC89B-E4DB-4EBC-B12A-607EB3C23DE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xmlns="" id="{50301F1B-4914-4337-B892-733925FD1C5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xmlns="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xmlns="" id="{B9D4D141-7E0B-42D0-994A-D8212F69EE2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xmlns="" id="{397EC893-9249-44CD-982F-F7F0B99DFCA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xmlns="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xmlns="" id="{E8E291C3-4BCA-406E-8B9A-6A354B83EF5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xmlns="" id="{4C9C4DC9-D1E5-45F3-943E-09B75E72EE8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sp>
        <p:nvSpPr>
          <p:cNvPr id="141" name="Documenttype">
            <a:extLst>
              <a:ext uri="{FF2B5EF4-FFF2-40B4-BE49-F238E27FC236}">
                <a16:creationId xmlns:a16="http://schemas.microsoft.com/office/drawing/2014/main" xmlns="" id="{29A17418-B99F-4330-B927-CCF962E4661F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83260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01E840A-BCBE-4B40-B158-B16879D32C9F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C35157-6F8A-478F-B460-90E403728E59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38200" y="-18738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33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media/144414/download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Relationship Id="rId5" Type="http://schemas.openxmlformats.org/officeDocument/2006/relationships/hyperlink" Target="https://www.fda.gov/media/146305/download" TargetMode="External"/><Relationship Id="rId4" Type="http://schemas.openxmlformats.org/officeDocument/2006/relationships/hyperlink" Target="https://www.fda.gov/media/144638/download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covid-19-vaccine-in-massachusett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hyperlink" Target="https://www.cdc.gov/vaccines/acip/index.html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xmlns="" id="{EC1C4EF3-3A8A-F442-8EF2-6A57E937ACE1}"/>
              </a:ext>
            </a:extLst>
          </p:cNvPr>
          <p:cNvSpPr txBox="1">
            <a:spLocks/>
          </p:cNvSpPr>
          <p:nvPr/>
        </p:nvSpPr>
        <p:spPr>
          <a:xfrm>
            <a:off x="2118534" y="2057400"/>
            <a:ext cx="8153399" cy="15240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cap="all" baseline="0">
                <a:solidFill>
                  <a:srgbClr val="1C263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algn="ctr" fontAlgn="auto">
              <a:spcAft>
                <a:spcPts val="0"/>
              </a:spcAft>
              <a:defRPr/>
            </a:pPr>
            <a:r>
              <a:rPr lang="pt-BR" sz="4000">
                <a:solidFill>
                  <a:schemeClr val="bg1"/>
                </a:solidFill>
                <a:latin typeface="+mn-lt"/>
              </a:rPr>
              <a:t>Guia sobre como organizar um fórum sobre a vacina contra a COVID-19</a:t>
            </a:r>
          </a:p>
          <a:p>
            <a:pPr lvl="0" algn="ctr" fontAlgn="auto">
              <a:spcAft>
                <a:spcPts val="0"/>
              </a:spcAft>
              <a:defRPr/>
            </a:pPr>
            <a:endParaRPr lang="en-US" sz="4000" dirty="0">
              <a:solidFill>
                <a:schemeClr val="bg1"/>
              </a:solidFill>
              <a:latin typeface="+mn-lt"/>
            </a:endParaRPr>
          </a:p>
          <a:p>
            <a:pPr lvl="0" algn="ctr" fontAlgn="auto">
              <a:spcAft>
                <a:spcPts val="0"/>
              </a:spcAft>
              <a:defRPr/>
            </a:pPr>
            <a:r>
              <a:rPr lang="pt-BR" sz="4000" i="1">
                <a:solidFill>
                  <a:schemeClr val="bg1"/>
                </a:solidFill>
                <a:latin typeface="+mn-lt"/>
              </a:rPr>
              <a:t>EDIÇÃO PARA CRIANÇAS E ADOLESCENTES</a:t>
            </a:r>
          </a:p>
        </p:txBody>
      </p:sp>
      <p:sp>
        <p:nvSpPr>
          <p:cNvPr id="5" name="Subtitle 3"/>
          <p:cNvSpPr txBox="1">
            <a:spLocks/>
          </p:cNvSpPr>
          <p:nvPr/>
        </p:nvSpPr>
        <p:spPr>
          <a:xfrm>
            <a:off x="1077428" y="5298749"/>
            <a:ext cx="10235609" cy="1295400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rgbClr val="1C263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sz="3200" dirty="0">
                <a:solidFill>
                  <a:schemeClr val="bg1"/>
                </a:solidFill>
              </a:rPr>
              <a:t>Atualizado em </a:t>
            </a:r>
            <a:r>
              <a:rPr lang="pt-BR" sz="3200" dirty="0" smtClean="0">
                <a:solidFill>
                  <a:schemeClr val="bg1"/>
                </a:solidFill>
              </a:rPr>
              <a:t>25 </a:t>
            </a:r>
            <a:r>
              <a:rPr lang="pt-BR" sz="3200" dirty="0">
                <a:solidFill>
                  <a:schemeClr val="bg1"/>
                </a:solidFill>
              </a:rPr>
              <a:t>de janeiro de 2022</a:t>
            </a:r>
          </a:p>
        </p:txBody>
      </p:sp>
    </p:spTree>
    <p:extLst>
      <p:ext uri="{BB962C8B-B14F-4D97-AF65-F5344CB8AC3E}">
        <p14:creationId xmlns:p14="http://schemas.microsoft.com/office/powerpoint/2010/main" val="1660228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0</a:t>
            </a:fld>
            <a:endParaRPr lang="en-US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Quais os possíveis efeitos colaterais da vacina contra a COVID-19?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78571" y="1161565"/>
            <a:ext cx="11356939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Efeitos colaterais graves das vacinas, incluindo a vacina contra a COVID-19, são raros.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Seu filho pode ter alguns efeitos colaterais, que são sinais normais de que seu corpo está construindo a proteção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Esses efeitos colaterais podem afetar a capacidade do seu filho de fazer atividades diárias, mas devem desaparecer em alguns dia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Os efeitos colaterais mais comuns são leves e incluem: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Cansaço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Dor de cabeça 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Dor no local da injeção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Dor muscular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Calafrios 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Náusea e/ou vômito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Febre</a:t>
            </a:r>
          </a:p>
        </p:txBody>
      </p:sp>
      <p:pic>
        <p:nvPicPr>
          <p:cNvPr id="5" name="Google Shape;741;p82" descr="This image is of five people wearing masks.">
            <a:extLst>
              <a:ext uri="{FF2B5EF4-FFF2-40B4-BE49-F238E27FC236}">
                <a16:creationId xmlns:a16="http://schemas.microsoft.com/office/drawing/2014/main" xmlns="" id="{8283A815-E6C2-49D6-BF93-3B2BF2832DC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29599" y="3390551"/>
            <a:ext cx="3263349" cy="289549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F087B7E-59EE-4240-9588-33516A0F843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506873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1</a:t>
            </a:fld>
            <a:endParaRPr lang="en-US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Qual é o risco de miocardite (inflamação do coração)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527262" y="958929"/>
            <a:ext cx="1135693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Em geral, o risco de efeitos colaterais da vacina contra a COVID-19 é muito baixo em crianças.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Houve casos raros de miocardite em jovens adolescentes do sexo masculino que foram ligados à vacinação contra a COVID-19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F087B7E-59EE-4240-9588-33516A0F843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AF364C3-A827-4B8E-AF6B-111A3F36A9E2}"/>
              </a:ext>
            </a:extLst>
          </p:cNvPr>
          <p:cNvSpPr txBox="1"/>
          <p:nvPr/>
        </p:nvSpPr>
        <p:spPr>
          <a:xfrm>
            <a:off x="478571" y="2910792"/>
            <a:ext cx="6154458" cy="310854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O risco de desenvolver miocardite devido à infecção por COVID-19 é muito maior do que desenvolver miocardite após receber a vacina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A maioria dos pacientes com miocardite que receberam cuidados respondeu bem ao medicamento e descanso e sentiu-se melhor mais rapidamente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155ABE77-4118-4355-8025-9AFCD461E0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2580" y="3287107"/>
            <a:ext cx="4831621" cy="2355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6872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52121" y="207736"/>
            <a:ext cx="12013375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As crianças e adolescentes com alergias devem tomar a vacina contra a COVID-19?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78571" y="1360347"/>
            <a:ext cx="11356939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Crianças e adolescentes não devem tomar as vacinas contra a COVID-19 se tiverem histórico de reação alérgica grave (também chamada “anafilaxia”) a qualquer ingrediente da vacina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s vacinas não contêm ovos, gelatina, conservantes ou látex. As listas de ingredientes podem ser encontradas em:</a:t>
            </a:r>
          </a:p>
          <a:p>
            <a:pPr marL="914400" lvl="1" indent="-34290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Pfizer/Comirnaty: </a:t>
            </a: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www.fda.gov/media/144414/download</a:t>
            </a: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 (página 3)</a:t>
            </a:r>
          </a:p>
          <a:p>
            <a:pPr marL="914400" lvl="1" indent="-34290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Moderna: </a:t>
            </a: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www.fda.gov/media/144638/download</a:t>
            </a: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 (página 2)</a:t>
            </a:r>
          </a:p>
          <a:p>
            <a:pPr marL="914400" lvl="1" indent="-342900">
              <a:buFont typeface="Courier New" panose="02070309020205020404" pitchFamily="49" charset="0"/>
              <a:buChar char="o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Janssen (J&amp;J): </a:t>
            </a: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https://www.fda.gov/media/146305/download</a:t>
            </a: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 (página 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Pessoas com histórico de reação alérgica grave a algo que não esteja na vacina (como manteiga de amendoim) devem conversar com seu profissional de saúde antes de tomar a vacina.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325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311147" y="-13089"/>
            <a:ext cx="11314323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Há questões de fertilidade ou desenvolvimento ao vacinar crianças antes de chegarem à puberdade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pt-BR" sz="24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ão.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pt-BR" sz="24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ão há evidências de que qualquer vacina, incluindo vacinas contra a COVID-19, possam causar problemas de fertilidade em mulheres ou homens.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pt-BR" sz="24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ão há evidências de que os ingredientes da vacina ou anticorpos desenvolvidos após a vacinação contra a COVID-19 possam causar problemas para engravidar. Da mesma forma, não há evidências de que a vacina contra a COVID-19 afete a puberdade.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772437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311147" y="232573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Uma vacina contra a COVID-19 alterará o DNA do meu filho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Não. As vacinas contra a COVID-19 não alteram ou interagem com nosso DNA de nenhuma maneira.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s vacinas ensinam nosso sistema imunológico a lutar contra um vírus específico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Para fazer seu trabalho, a vacina contra a COVID-19 não precisa entrar no núcleo da célula, que é onde está nosso DNA. Isso significa que a vacina nunca interage com nosso DNA de alguma forma e não tem como alterá-lo. </a:t>
            </a:r>
          </a:p>
          <a:p>
            <a:r>
              <a:rPr lang="pt-BR" sz="2400"/>
              <a:t> </a:t>
            </a:r>
          </a:p>
          <a:p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41831099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311147" y="246221"/>
            <a:ext cx="1131432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2800" dirty="0">
                <a:latin typeface="Calibri" panose="020F0502020204030204" pitchFamily="34" charset="0"/>
                <a:cs typeface="Calibri" panose="020F0502020204030204" pitchFamily="34" charset="0"/>
              </a:rPr>
              <a:t>O meu filho pode contrair a COVID-19 através da vacina contra a COVID-19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306392"/>
            <a:ext cx="112278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Não. As vacinas não contêm o vírus vivo que causa a COVID-19. Isso significa que o seu filho não pode contrair a COVID-19 através da vacina.</a:t>
            </a:r>
          </a:p>
        </p:txBody>
      </p:sp>
      <p:pic>
        <p:nvPicPr>
          <p:cNvPr id="7" name="Google Shape;296;p78" descr="Five people of different ages waiting in lines to be vaccinated by a person in a medical coat.">
            <a:extLst>
              <a:ext uri="{FF2B5EF4-FFF2-40B4-BE49-F238E27FC236}">
                <a16:creationId xmlns:a16="http://schemas.microsoft.com/office/drawing/2014/main" xmlns="" id="{2F055C2B-AB1B-46EA-87CC-9EC61E3654F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44186" y="2312127"/>
            <a:ext cx="8361755" cy="41803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83475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311147" y="232573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As vacinas funcionarão contra variantes da COVID-19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478572" y="1787203"/>
            <a:ext cx="8627328" cy="3283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96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24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É normal que os vírus se alterem enquanto se espalham e que novas variantes apareçam. </a:t>
            </a:r>
          </a:p>
          <a:p>
            <a:pPr marL="342900" marR="0" lvl="0" indent="-34290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sz="24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24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é o momento, estudos sugerem que as vacinas fornecem proteção contra as variantes conhecidas.</a:t>
            </a:r>
          </a:p>
          <a:p>
            <a:pPr marL="342900" marR="0" lvl="0" indent="-34290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sz="24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24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smo quando uma pessoa vacinada se infecta com a COVID-19, ela é protegida contra a forma grave da doença e morte.</a:t>
            </a:r>
          </a:p>
          <a:p>
            <a:pPr marR="0" lv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 descr="A picture of a virus and the spikes on its surface.">
            <a:extLst>
              <a:ext uri="{FF2B5EF4-FFF2-40B4-BE49-F238E27FC236}">
                <a16:creationId xmlns:a16="http://schemas.microsoft.com/office/drawing/2014/main" xmlns="" id="{5B53736D-B02B-476C-83A1-92E3CB406E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5899" y="2088420"/>
            <a:ext cx="2906677" cy="2681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283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93152DB4-D43C-4445-AD74-C2E8D31C2990}"/>
              </a:ext>
            </a:extLst>
          </p:cNvPr>
          <p:cNvSpPr txBox="1"/>
          <p:nvPr/>
        </p:nvSpPr>
        <p:spPr>
          <a:xfrm>
            <a:off x="311147" y="232573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As crianças e adolescentes devem tomar uma dose de reforço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AD0A274-4627-4C86-868D-FFCD23654906}"/>
              </a:ext>
            </a:extLst>
          </p:cNvPr>
          <p:cNvSpPr/>
          <p:nvPr/>
        </p:nvSpPr>
        <p:spPr>
          <a:xfrm>
            <a:off x="438838" y="1081948"/>
            <a:ext cx="1080973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As vacinas contra a COVID-19 trabalham bem para prevenir a forma grave da doença, hospitalização e morte. Porém, especialistas em saúde pública estão começando a ver menos proteção contra a forma leve e moderada da doença. As doses de reforço mantêm as vacinas eficazes por mais tempo.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Todas as pessoas a partir de 12 anos de idade podem tomar a dose de reforço se:</a:t>
            </a:r>
          </a:p>
          <a:p>
            <a:pPr marL="800100" lvl="1" indent="-342900"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pt-BR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fizer e Moderna</a:t>
            </a:r>
            <a:r>
              <a:rPr lang="pt-BR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Já se passaram pelo menos cinco meses desde a segunda dose</a:t>
            </a:r>
          </a:p>
          <a:p>
            <a:pPr marL="800100" lvl="1" indent="-342900"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pt-BR" sz="2400" b="1" dirty="0">
                <a:latin typeface="Calibri" panose="020F0502020204030204" pitchFamily="34" charset="0"/>
                <a:cs typeface="Calibri" panose="020F0502020204030204" pitchFamily="34" charset="0"/>
              </a:rPr>
              <a:t>Johnson &amp; Johnson</a:t>
            </a: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: Já se passaram pelo menos dois meses desde a primeira dose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145BB11A-F37C-4E38-886E-9DA254E85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6362" y="4477990"/>
            <a:ext cx="4876800" cy="1875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128089D-30D1-4D7D-BF8E-13C93E14008F}"/>
              </a:ext>
            </a:extLst>
          </p:cNvPr>
          <p:cNvSpPr/>
          <p:nvPr/>
        </p:nvSpPr>
        <p:spPr>
          <a:xfrm>
            <a:off x="438838" y="4798769"/>
            <a:ext cx="6579954" cy="15549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Se você tiver entre 12 e 17 anos, só poderá tomar a dose de reforço da Pfizer. Caso contrário, poderá escolher qual vacina de reforço deseja tomar.  </a:t>
            </a:r>
          </a:p>
          <a:p>
            <a:pPr marR="0" lvl="0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959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omo faço um agendamento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5192" y="1085084"/>
            <a:ext cx="9060004" cy="5056409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pt-BR" sz="2400" dirty="0"/>
              <a:t>Visite VaxFinder.mass.gov para buscar agendamentos (incluindo para doses de reforço) em farmácias, profissionais de saúde e outros locais de sua comunidade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pt-BR" sz="2400" dirty="0"/>
              <a:t>Você pode classificar por tipo de vacina oferecida para que as pessoas com menos de 18 anos possam encontrar locais que ofereçam apenas a vacina da Pfizer/</a:t>
            </a:r>
            <a:r>
              <a:rPr lang="pt-BR" sz="2400" dirty="0" err="1"/>
              <a:t>Comirnaty</a:t>
            </a:r>
            <a:r>
              <a:rPr lang="pt-BR" sz="2400" dirty="0"/>
              <a:t>.</a:t>
            </a:r>
          </a:p>
          <a:p>
            <a:pPr>
              <a:lnSpc>
                <a:spcPct val="100000"/>
              </a:lnSpc>
            </a:pPr>
            <a:endParaRPr lang="en-US" sz="2400" dirty="0"/>
          </a:p>
          <a:p>
            <a:pPr>
              <a:lnSpc>
                <a:spcPct val="100000"/>
              </a:lnSpc>
            </a:pPr>
            <a:r>
              <a:rPr lang="pt-BR" sz="2400" dirty="0"/>
              <a:t>Você também pode classificar por locais que estejam oferecendo a dose de reforço da sua escolha.</a:t>
            </a: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2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t-BR" sz="2400" dirty="0"/>
              <a:t>Pessoas que </a:t>
            </a:r>
            <a:r>
              <a:rPr lang="pt-BR" sz="2400" b="1" dirty="0"/>
              <a:t>não podem usar a internet</a:t>
            </a:r>
            <a:r>
              <a:rPr lang="pt-BR" sz="2400" dirty="0"/>
              <a:t> podem ligar para a Linha de Recursos de Agendamento de Vacinas de Massachusetts:</a:t>
            </a:r>
            <a:r>
              <a:rPr lang="pt-BR" sz="2400" b="1" dirty="0"/>
              <a:t> 2-1-1 </a:t>
            </a:r>
            <a:r>
              <a:rPr lang="pt-BR" sz="2400" dirty="0"/>
              <a:t>(877-211-6277)</a:t>
            </a:r>
          </a:p>
        </p:txBody>
      </p:sp>
      <p:pic>
        <p:nvPicPr>
          <p:cNvPr id="7" name="Picture 6" descr="This image has four pictures, including a computer with the mass.gov website, pins from a map, and a checklist. ">
            <a:extLst>
              <a:ext uri="{FF2B5EF4-FFF2-40B4-BE49-F238E27FC236}">
                <a16:creationId xmlns:a16="http://schemas.microsoft.com/office/drawing/2014/main" xmlns="" id="{EC56C721-BC2A-40D2-9621-95DAF3D021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9376" y="1209803"/>
            <a:ext cx="1747432" cy="494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443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9</a:t>
            </a:fld>
            <a:endParaRPr lang="en-US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Eu terei que pagar pela vacina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178625" y="1175762"/>
            <a:ext cx="10246035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Não. A vacina (incluindo a dose de reforço) é </a:t>
            </a:r>
            <a:r>
              <a:rPr lang="pt-BR" sz="2400" b="1" dirty="0">
                <a:latin typeface="Calibri" panose="020F0502020204030204" pitchFamily="34" charset="0"/>
                <a:cs typeface="Calibri" panose="020F0502020204030204" pitchFamily="34" charset="0"/>
              </a:rPr>
              <a:t>gratuita</a:t>
            </a: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 para todos os residentes de Massachusett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Você nunca precisará fornecer um número de cartão de crédito para fazer um agendamento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Você poderá tomar a vacina mesmo que </a:t>
            </a:r>
          </a:p>
          <a:p>
            <a:pPr lvl="1"/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     não tenha seguro de saúde, carteira de habilitação </a:t>
            </a:r>
          </a:p>
          <a:p>
            <a:pPr lvl="1"/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     ou um número de Seguro Social.</a:t>
            </a:r>
            <a:b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pt-B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endParaRPr lang="en-US" sz="2200" b="1" dirty="0"/>
          </a:p>
        </p:txBody>
      </p:sp>
      <p:pic>
        <p:nvPicPr>
          <p:cNvPr id="7" name="Google Shape;563;p19" descr="Group of people wearing masks">
            <a:extLst>
              <a:ext uri="{FF2B5EF4-FFF2-40B4-BE49-F238E27FC236}">
                <a16:creationId xmlns:a16="http://schemas.microsoft.com/office/drawing/2014/main" xmlns="" id="{FBD1468A-49C7-4C55-8901-9A6A290702A6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561532" y="3033483"/>
            <a:ext cx="4486366" cy="3268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8392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9EB489F-C3F8-44C1-9BB9-00F5D6FE8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5935"/>
            <a:ext cx="10515600" cy="315032"/>
          </a:xfrm>
        </p:spPr>
        <p:txBody>
          <a:bodyPr>
            <a:normAutofit fontScale="90000"/>
          </a:bodyPr>
          <a:lstStyle/>
          <a:p>
            <a:pPr algn="ctr"/>
            <a:r>
              <a:rPr lang="pt-BR" sz="3200" b="1">
                <a:latin typeface="+mn-lt"/>
              </a:rPr>
              <a:t/>
            </a:r>
            <a:br>
              <a:rPr lang="pt-BR" sz="3200" b="1">
                <a:latin typeface="+mn-lt"/>
              </a:rPr>
            </a:br>
            <a:r>
              <a:rPr lang="pt-BR" sz="3200" b="1">
                <a:latin typeface="+mn-lt"/>
              </a:rPr>
              <a:t>Instruções para uso deste guia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640ACD5-A597-48EA-981B-26A084A0EC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38" y="1291770"/>
            <a:ext cx="11343861" cy="5257133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pt-BR" sz="2600"/>
              <a:t>Este guia foi criado para fornecedores, grupos comunitários e outros para organizar reuniões locais ou fóruns sobre a vacina contra a COVID-19 para </a:t>
            </a:r>
            <a:r>
              <a:rPr lang="pt-BR" sz="2600" b="1"/>
              <a:t>crianças e adolescentes. </a:t>
            </a:r>
          </a:p>
          <a:p>
            <a:pPr>
              <a:lnSpc>
                <a:spcPct val="110000"/>
              </a:lnSpc>
            </a:pPr>
            <a:r>
              <a:rPr lang="pt-BR" sz="2600"/>
              <a:t>Ele inclui informações do Departamento de Saúde Pública de Massachusetts em resposta a perguntas mais frequentes.</a:t>
            </a:r>
          </a:p>
          <a:p>
            <a:pPr>
              <a:lnSpc>
                <a:spcPct val="110000"/>
              </a:lnSpc>
            </a:pPr>
            <a:r>
              <a:rPr lang="pt-BR" sz="2600"/>
              <a:t>Há pontos de discussão adicionais na seção de notas em cada slide.</a:t>
            </a:r>
          </a:p>
          <a:p>
            <a:pPr>
              <a:lnSpc>
                <a:spcPct val="110000"/>
              </a:lnSpc>
            </a:pPr>
            <a:r>
              <a:rPr lang="pt-BR" sz="2600"/>
              <a:t>Você pode usar algum ou todo o conteúdo com base nos interesses e necessidades da sua comunidade. </a:t>
            </a:r>
          </a:p>
          <a:p>
            <a:pPr marL="731520" lvl="1" indent="-36576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pt-BR" sz="2600"/>
              <a:t>Outras informações para informar seu fórum podem ser encontradas em </a:t>
            </a:r>
            <a:r>
              <a:rPr lang="pt-BR" sz="2600">
                <a:hlinkClick r:id="rId3"/>
              </a:rPr>
              <a:t>https://www.mass.gov/covid-19-vaccine-in-massachusetts</a:t>
            </a:r>
            <a:r>
              <a:rPr lang="pt-BR" sz="26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89554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F0DC069-7A18-449E-9B5B-42D496ED299A}"/>
              </a:ext>
            </a:extLst>
          </p:cNvPr>
          <p:cNvSpPr txBox="1"/>
          <p:nvPr/>
        </p:nvSpPr>
        <p:spPr>
          <a:xfrm>
            <a:off x="253091" y="217193"/>
            <a:ext cx="1188085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2800" dirty="0">
                <a:latin typeface="Calibri" panose="020F0502020204030204" pitchFamily="34" charset="0"/>
                <a:cs typeface="Calibri" panose="020F0502020204030204" pitchFamily="34" charset="0"/>
              </a:rPr>
              <a:t>Quem pode me ajudar a tomar decisões relacionadas à vacinação do meu filho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5C5A823-101A-4EFF-BD93-CBB21EC8DD44}"/>
              </a:ext>
            </a:extLst>
          </p:cNvPr>
          <p:cNvSpPr/>
          <p:nvPr/>
        </p:nvSpPr>
        <p:spPr>
          <a:xfrm>
            <a:off x="587754" y="2206129"/>
            <a:ext cx="515795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Se você tiver mais dúvidas sobre a saúde do seu filho ou para decidir tomar a vacina, converse com um profissional de saúde de confiança, como o médico do seu filho, enfermeiro, segurador de saúde, farmacêutico ou profissional de saúde comunitária. </a:t>
            </a:r>
          </a:p>
        </p:txBody>
      </p:sp>
      <p:pic>
        <p:nvPicPr>
          <p:cNvPr id="19458" name="Picture 2" descr="This is a picture of two people wearing masks standing in front of a medical building.">
            <a:extLst>
              <a:ext uri="{FF2B5EF4-FFF2-40B4-BE49-F238E27FC236}">
                <a16:creationId xmlns:a16="http://schemas.microsoft.com/office/drawing/2014/main" xmlns="" id="{CF19B3FD-7D43-41BC-B7D8-4C8C94724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87606"/>
            <a:ext cx="5747982" cy="429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365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3</a:t>
            </a:fld>
            <a:endParaRPr lang="en-US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O que é uma vacina e como ela funciona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504498" y="1377720"/>
            <a:ext cx="10988451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s vacinas previnem doenças que podem ser perigosas ou até mesmo mortais. Elas trabalham com as defesas naturais do seu corpo para desenvolver com segurança uma proteção contra uma doença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/>
              <a:t>Uma vacina ajuda seu sistema imunológico a produzir anticorpos, assim como faria se você tivesse sido exposto à doença. Após ser vacinado, você obtém a proteção contra aquela doença, sem precisar contrair a doença ant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/>
              <a:t>Isso é o que torna as vacinas um medicamento poderoso. Diferente da maioria dos medicamentos, que tratam ou curam doenças, as vacinas as </a:t>
            </a:r>
            <a:r>
              <a:rPr lang="pt-BR" sz="2400" i="1"/>
              <a:t>previnem.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728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4</a:t>
            </a:fld>
            <a:endParaRPr lang="en-US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2800" dirty="0">
                <a:latin typeface="Calibri" panose="020F0502020204030204" pitchFamily="34" charset="0"/>
                <a:cs typeface="Calibri" panose="020F0502020204030204" pitchFamily="34" charset="0"/>
              </a:rPr>
              <a:t>Por que as crianças e adolescentes devem se vacinar contra a COVID-19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38839" y="1218109"/>
            <a:ext cx="11314322" cy="23750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 vacinação pode ajudar as crianças e adolescentes a não ficarem gravemente doentes, mesmo se tiverem COVID-19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 vacinação pode ajudar a proteger os membros da família, incluindo irmãos que não são elegíveis para a vacinação e membros da família que podem ter risco aumentado de ficar muito doentes se forem infectado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F9035D7-C735-42DE-B403-9166C00182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2292" y="3814848"/>
            <a:ext cx="5892211" cy="24861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B2BE508-DEE0-4777-90A4-244CE88AF258}"/>
              </a:ext>
            </a:extLst>
          </p:cNvPr>
          <p:cNvSpPr txBox="1"/>
          <p:nvPr/>
        </p:nvSpPr>
        <p:spPr>
          <a:xfrm>
            <a:off x="453353" y="3814848"/>
            <a:ext cx="556087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 vacinação de crianças e adolescentes pode ajudá-los na escola e a participar de esportes, brincadeiras e outras atividades em grupo com segurança.</a:t>
            </a:r>
          </a:p>
        </p:txBody>
      </p:sp>
    </p:spTree>
    <p:extLst>
      <p:ext uri="{BB962C8B-B14F-4D97-AF65-F5344CB8AC3E}">
        <p14:creationId xmlns:p14="http://schemas.microsoft.com/office/powerpoint/2010/main" val="39564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5</a:t>
            </a:fld>
            <a:endParaRPr lang="en-US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Quais vacinas estão disponíveis para crianças e adolescente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354842" y="1473016"/>
            <a:ext cx="8832701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Três vacinas foram aprovadas ou receberam Autorização de Uso Emergencial da Food and Drug Administration: Pfizer/Comirnaty, Moderna, e Janssen (Johnson &amp; Johnson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/>
              <a:t>Todas as três vacinas contra a COVID-19 são seguras e altamente eficazes contra a forma grave da doença, hospitalização e mort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 vacina da Pfizer/Comirnaty está disponível para pessoas a partir de 5 anos de idad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As vacinas da Moderna e Johnson &amp; Johnson estão disponíveis para pessoas a partir de 18 anos de idade. </a:t>
            </a:r>
          </a:p>
        </p:txBody>
      </p:sp>
      <p:pic>
        <p:nvPicPr>
          <p:cNvPr id="5" name="Picture 4" descr="This is an image of a medicine bottle that is labeled &quot;COVID-19 vaccine&quot;">
            <a:extLst>
              <a:ext uri="{FF2B5EF4-FFF2-40B4-BE49-F238E27FC236}">
                <a16:creationId xmlns:a16="http://schemas.microsoft.com/office/drawing/2014/main" xmlns="" id="{BE55B62F-4DC4-490E-BD71-34766C9A61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3439" y="1901277"/>
            <a:ext cx="2407335" cy="341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06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738515A-DC24-4FF1-85F9-68F50ED8147F}"/>
              </a:ext>
            </a:extLst>
          </p:cNvPr>
          <p:cNvSpPr txBox="1"/>
          <p:nvPr/>
        </p:nvSpPr>
        <p:spPr>
          <a:xfrm>
            <a:off x="152121" y="207736"/>
            <a:ext cx="1201337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As vacinas contra a COVID-19 são seguras para criança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F069143-FE01-453C-934A-DAA4862AED31}"/>
              </a:ext>
            </a:extLst>
          </p:cNvPr>
          <p:cNvSpPr/>
          <p:nvPr/>
        </p:nvSpPr>
        <p:spPr>
          <a:xfrm>
            <a:off x="418664" y="1226023"/>
            <a:ext cx="7491621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Sim. O CDC recomenda que todos a partir de 5 anos de idade recebam a vacina contra a COVID-19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>
                <a:latin typeface="Calibri" panose="020F0502020204030204" pitchFamily="34" charset="0"/>
                <a:cs typeface="Calibri" panose="020F0502020204030204" pitchFamily="34" charset="0"/>
              </a:rPr>
              <a:t>Cientistas conduziram estudos clínicos com milhares de crianças e determinaram que são seguras e eficazes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b="0" i="0">
                <a:solidFill>
                  <a:srgbClr val="000000"/>
                </a:solidFill>
              </a:rPr>
              <a:t>As vacinas contra a COVID-19 estão sendo monitoradas para segurança com o programa de monitoramento de segurança mais abrangente e intenso da história dos EUA.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oogle Shape;611;p25" descr="Group of young people with arms around each other.">
            <a:extLst>
              <a:ext uri="{FF2B5EF4-FFF2-40B4-BE49-F238E27FC236}">
                <a16:creationId xmlns:a16="http://schemas.microsoft.com/office/drawing/2014/main" xmlns="" id="{3D504A1A-94AC-4E5D-B5A1-7388D5DD361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903477" y="1358162"/>
            <a:ext cx="4288523" cy="308543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6C3DDE04-0110-413F-8DFC-FF3DD6C07CCD}"/>
              </a:ext>
            </a:extLst>
          </p:cNvPr>
          <p:cNvSpPr txBox="1"/>
          <p:nvPr/>
        </p:nvSpPr>
        <p:spPr>
          <a:xfrm>
            <a:off x="418664" y="5011675"/>
            <a:ext cx="1019991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u="none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 crianças podem apresentar alguns efeitos colaterais da vacina semelhantes aos vistos em adultos e com outras vacinas. São sinais normais de que o corpo está construindo proteção e devem sumir em alguns dia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110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80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en-US" smtClean="0"/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7</a:t>
            </a:fld>
            <a:endParaRPr lang="en-US"/>
          </a:p>
        </p:txBody>
      </p:sp>
      <p:pic>
        <p:nvPicPr>
          <p:cNvPr id="415" name="Google Shape;415;p80" descr="lmage of three people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07903" y="3178085"/>
            <a:ext cx="1590350" cy="1581257"/>
          </a:xfrm>
          <a:prstGeom prst="rect">
            <a:avLst/>
          </a:prstGeom>
          <a:noFill/>
          <a:ln>
            <a:noFill/>
          </a:ln>
        </p:spPr>
      </p:pic>
      <p:pic>
        <p:nvPicPr>
          <p:cNvPr id="416" name="Google Shape;416;p80" descr="lmage of six people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751523" y="4863450"/>
            <a:ext cx="1503115" cy="1494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17" name="Google Shape;417;p80" descr="Image of a syringe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668725" y="1598888"/>
            <a:ext cx="1668700" cy="1579198"/>
          </a:xfrm>
          <a:prstGeom prst="rect">
            <a:avLst/>
          </a:prstGeom>
          <a:noFill/>
          <a:ln>
            <a:noFill/>
          </a:ln>
        </p:spPr>
      </p:pic>
      <p:sp>
        <p:nvSpPr>
          <p:cNvPr id="418" name="Google Shape;418;p80"/>
          <p:cNvSpPr txBox="1"/>
          <p:nvPr/>
        </p:nvSpPr>
        <p:spPr>
          <a:xfrm>
            <a:off x="3490475" y="2126888"/>
            <a:ext cx="605490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upos pequenos de pessoas recebem a vacina de teste.</a:t>
            </a:r>
          </a:p>
        </p:txBody>
      </p:sp>
      <p:sp>
        <p:nvSpPr>
          <p:cNvPr id="419" name="Google Shape;419;p80"/>
          <p:cNvSpPr txBox="1"/>
          <p:nvPr/>
        </p:nvSpPr>
        <p:spPr>
          <a:xfrm>
            <a:off x="3490475" y="3560175"/>
            <a:ext cx="83490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 vacina é fornecida a grupos específicos de pessoas (por exemplo, pessoas de certa idade, raça ou saúde física).</a:t>
            </a:r>
          </a:p>
        </p:txBody>
      </p:sp>
      <p:sp>
        <p:nvSpPr>
          <p:cNvPr id="420" name="Google Shape;420;p80"/>
          <p:cNvSpPr txBox="1"/>
          <p:nvPr/>
        </p:nvSpPr>
        <p:spPr>
          <a:xfrm>
            <a:off x="3490475" y="5179775"/>
            <a:ext cx="72102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 vacina é fornecida a dezenas de milhares de pessoas e testada para eficácia e segurança.</a:t>
            </a:r>
          </a:p>
        </p:txBody>
      </p:sp>
      <p:sp>
        <p:nvSpPr>
          <p:cNvPr id="421" name="Google Shape;421;p80"/>
          <p:cNvSpPr txBox="1"/>
          <p:nvPr/>
        </p:nvSpPr>
        <p:spPr>
          <a:xfrm>
            <a:off x="347049" y="1075700"/>
            <a:ext cx="11145899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pt-BR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 vacinas passam por mais testes do que qualquer outro produto farmacêutico: </a:t>
            </a:r>
          </a:p>
        </p:txBody>
      </p:sp>
      <p:pic>
        <p:nvPicPr>
          <p:cNvPr id="422" name="Google Shape;422;p80" descr="Number 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506750" y="1708538"/>
            <a:ext cx="548400" cy="523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3" name="Google Shape;423;p80" descr="Number 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506750" y="3287662"/>
            <a:ext cx="548400" cy="5198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24" name="Google Shape;424;p80" descr="Number 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506750" y="4863450"/>
            <a:ext cx="548400" cy="5602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476549BD-3453-4644-BC83-EC240D19A907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Como sabemos que a vacina é segura?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g79ce8b2f6a_0_51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en-US" smtClean="0"/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8</a:t>
            </a:fld>
            <a:endParaRPr lang="en-US"/>
          </a:p>
        </p:txBody>
      </p:sp>
      <p:pic>
        <p:nvPicPr>
          <p:cNvPr id="432" name="Google Shape;432;g79ce8b2f6a_0_51" descr="Check mark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2813" y="3146125"/>
            <a:ext cx="1669436" cy="1645275"/>
          </a:xfrm>
          <a:prstGeom prst="rect">
            <a:avLst/>
          </a:prstGeom>
          <a:noFill/>
          <a:ln>
            <a:noFill/>
          </a:ln>
        </p:spPr>
      </p:pic>
      <p:sp>
        <p:nvSpPr>
          <p:cNvPr id="433" name="Google Shape;433;g79ce8b2f6a_0_51"/>
          <p:cNvSpPr txBox="1"/>
          <p:nvPr/>
        </p:nvSpPr>
        <p:spPr>
          <a:xfrm>
            <a:off x="3460900" y="1571125"/>
            <a:ext cx="7812300" cy="1292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 </a:t>
            </a:r>
            <a:r>
              <a:rPr lang="pt-BR" sz="2400" u="sng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Conselho Consultivo sobre Práticas de Imunização</a:t>
            </a:r>
            <a:r>
              <a:rPr lang="pt-BR" sz="240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do CDC observa os dados para ver se a vacina funciona e é segura.</a:t>
            </a:r>
            <a:r>
              <a:rPr lang="pt-BR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Eles fornecem orientação para a U.S. Food and Drug Administration (FDA).</a:t>
            </a:r>
          </a:p>
        </p:txBody>
      </p:sp>
      <p:sp>
        <p:nvSpPr>
          <p:cNvPr id="434" name="Google Shape;434;g79ce8b2f6a_0_51"/>
          <p:cNvSpPr txBox="1"/>
          <p:nvPr/>
        </p:nvSpPr>
        <p:spPr>
          <a:xfrm>
            <a:off x="3460900" y="3537813"/>
            <a:ext cx="81504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 FDA observa os dados e as orientações do Conselho Consultivo e decide aprovar a vacina ou não.</a:t>
            </a:r>
          </a:p>
        </p:txBody>
      </p:sp>
      <p:pic>
        <p:nvPicPr>
          <p:cNvPr id="435" name="Google Shape;435;g79ce8b2f6a_0_51" descr="Image of a piece of paper and magnifying glass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503187" y="1349123"/>
            <a:ext cx="1668700" cy="16446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6" name="Google Shape;436;g79ce8b2f6a_0_51" descr="Number 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295025" y="1350250"/>
            <a:ext cx="615075" cy="5602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7" name="Google Shape;437;g79ce8b2f6a_0_51" descr="Number 5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295025" y="3342331"/>
            <a:ext cx="615075" cy="546593"/>
          </a:xfrm>
          <a:prstGeom prst="rect">
            <a:avLst/>
          </a:prstGeom>
          <a:noFill/>
          <a:ln>
            <a:noFill/>
          </a:ln>
        </p:spPr>
      </p:pic>
      <p:sp>
        <p:nvSpPr>
          <p:cNvPr id="438" name="Google Shape;438;g79ce8b2f6a_0_51" descr="The vaccine is only approved after all of these steps are done and various teams of reviewers are sure that it works and is safe.&#10;"/>
          <p:cNvSpPr/>
          <p:nvPr/>
        </p:nvSpPr>
        <p:spPr>
          <a:xfrm>
            <a:off x="1625100" y="5093700"/>
            <a:ext cx="9308400" cy="1096500"/>
          </a:xfrm>
          <a:prstGeom prst="rect">
            <a:avLst/>
          </a:prstGeom>
          <a:solidFill>
            <a:srgbClr val="D7EAFC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A vacina só é aprovada após </a:t>
            </a:r>
            <a:r>
              <a:rPr lang="pt-BR" sz="2400" b="1">
                <a:latin typeface="Calibri"/>
                <a:ea typeface="Calibri"/>
                <a:cs typeface="Calibri"/>
                <a:sym typeface="Calibri"/>
              </a:rPr>
              <a:t>todas essas etapas</a:t>
            </a: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 terem sido concluídas e várias equipes de revisores terem certeza de que ela funciona e é segura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1BA9E1A-725B-4EBC-9974-F1B9658FEA6C}"/>
              </a:ext>
            </a:extLst>
          </p:cNvPr>
          <p:cNvSpPr txBox="1"/>
          <p:nvPr/>
        </p:nvSpPr>
        <p:spPr>
          <a:xfrm>
            <a:off x="178625" y="234238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Como sabemos se a vacina é segura?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81"/>
          <p:cNvSpPr/>
          <p:nvPr/>
        </p:nvSpPr>
        <p:spPr>
          <a:xfrm>
            <a:off x="201900" y="1136942"/>
            <a:ext cx="11844326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 linha do tempo foi acelerada, mas nunca pulou etapas em relação à segurança. Veja como foi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6" name="Google Shape;446;p81" descr="Open book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2426" y="1732493"/>
            <a:ext cx="1684106" cy="1659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47" name="Google Shape;447;p81" descr="Dollar sign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815800" y="1732493"/>
            <a:ext cx="1684107" cy="169419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8" name="Google Shape;448;p81" descr="Magnifying glass and clipboard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795010" y="4131290"/>
            <a:ext cx="1684107" cy="1746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" name="Google Shape;449;p81" descr="Person raising hand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18276" y="4068077"/>
            <a:ext cx="1786059" cy="1822735"/>
          </a:xfrm>
          <a:prstGeom prst="rect">
            <a:avLst/>
          </a:prstGeom>
          <a:noFill/>
          <a:ln>
            <a:noFill/>
          </a:ln>
        </p:spPr>
      </p:pic>
      <p:sp>
        <p:nvSpPr>
          <p:cNvPr id="450" name="Google Shape;450;p81"/>
          <p:cNvSpPr/>
          <p:nvPr/>
        </p:nvSpPr>
        <p:spPr>
          <a:xfrm>
            <a:off x="2039263" y="2120000"/>
            <a:ext cx="4009200" cy="163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1">
                <a:latin typeface="Calibri"/>
                <a:ea typeface="Calibri"/>
                <a:cs typeface="Calibri"/>
                <a:sym typeface="Calibri"/>
              </a:rPr>
              <a:t>Nós já tínhamos informações úteis</a:t>
            </a: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 sobre os coronavírus, então não começamos do zero. </a:t>
            </a:r>
          </a:p>
        </p:txBody>
      </p:sp>
      <p:sp>
        <p:nvSpPr>
          <p:cNvPr id="451" name="Google Shape;451;p81"/>
          <p:cNvSpPr/>
          <p:nvPr/>
        </p:nvSpPr>
        <p:spPr>
          <a:xfrm>
            <a:off x="7616270" y="2027820"/>
            <a:ext cx="4009200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Aft>
                <a:spcPts val="0"/>
              </a:spcAft>
              <a:buNone/>
            </a:pP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O governo dos EUA e outros governos </a:t>
            </a:r>
            <a:r>
              <a:rPr lang="pt-BR" sz="2400" b="1">
                <a:latin typeface="Calibri"/>
                <a:ea typeface="Calibri"/>
                <a:cs typeface="Calibri"/>
                <a:sym typeface="Calibri"/>
              </a:rPr>
              <a:t>investiram muito dinheiro</a:t>
            </a: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 para promover o trabalho das empresas fabricantes de vacinas.  </a:t>
            </a:r>
          </a:p>
        </p:txBody>
      </p:sp>
      <p:sp>
        <p:nvSpPr>
          <p:cNvPr id="452" name="Google Shape;452;p81"/>
          <p:cNvSpPr/>
          <p:nvPr/>
        </p:nvSpPr>
        <p:spPr>
          <a:xfrm>
            <a:off x="2048700" y="4292829"/>
            <a:ext cx="3767100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Aft>
                <a:spcPts val="0"/>
              </a:spcAft>
              <a:buNone/>
            </a:pP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Muitas pessoas participaram de estudos clínicos e </a:t>
            </a:r>
            <a:r>
              <a:rPr lang="pt-BR" sz="2400" b="1">
                <a:latin typeface="Calibri"/>
                <a:ea typeface="Calibri"/>
                <a:cs typeface="Calibri"/>
                <a:sym typeface="Calibri"/>
              </a:rPr>
              <a:t>não precisamos de tempo para encontrar voluntários.  </a:t>
            </a:r>
          </a:p>
        </p:txBody>
      </p:sp>
      <p:sp>
        <p:nvSpPr>
          <p:cNvPr id="453" name="Google Shape;453;p81"/>
          <p:cNvSpPr/>
          <p:nvPr/>
        </p:nvSpPr>
        <p:spPr>
          <a:xfrm>
            <a:off x="7616270" y="4238938"/>
            <a:ext cx="4236000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Aft>
                <a:spcPts val="0"/>
              </a:spcAft>
              <a:buNone/>
            </a:pP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A fabricação ocorreu </a:t>
            </a:r>
            <a:r>
              <a:rPr lang="pt-BR" sz="2400" b="1">
                <a:latin typeface="Calibri"/>
                <a:ea typeface="Calibri"/>
                <a:cs typeface="Calibri"/>
                <a:sym typeface="Calibri"/>
              </a:rPr>
              <a:t>ao mesmo tempo que os estudos de segurança</a:t>
            </a:r>
            <a:r>
              <a:rPr lang="pt-BR" sz="2400">
                <a:latin typeface="Calibri"/>
                <a:ea typeface="Calibri"/>
                <a:cs typeface="Calibri"/>
                <a:sym typeface="Calibri"/>
              </a:rPr>
              <a:t>, então as vacinas estavam prontas para serem distribuídas assim que foram aprovada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1E34E7A-336B-4015-BC19-F6F91306BB45}"/>
              </a:ext>
            </a:extLst>
          </p:cNvPr>
          <p:cNvSpPr txBox="1"/>
          <p:nvPr/>
        </p:nvSpPr>
        <p:spPr>
          <a:xfrm>
            <a:off x="311147" y="246221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t-BR" sz="3200">
                <a:latin typeface="Calibri" panose="020F0502020204030204" pitchFamily="34" charset="0"/>
                <a:cs typeface="Calibri" panose="020F0502020204030204" pitchFamily="34" charset="0"/>
              </a:rPr>
              <a:t>Como ela é segura se foi produzida tão rapidamente?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xmlns="" name="US0734_OFF.potx" id="{B99654CB-F1B9-41E3-A169-339811ED5F54}" vid="{F40D82E9-5348-40C5-82A2-1CB421C2615D}"/>
    </a:ext>
  </a:extLst>
</a:theme>
</file>

<file path=ppt/theme/theme4.xml><?xml version="1.0" encoding="utf-8"?>
<a:theme xmlns:a="http://schemas.openxmlformats.org/drawingml/2006/main" name="Theme-Covid-Vax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Theme-Covid-Vax" id="{A4F9C436-5CE2-42E5-9FB9-7895596584E5}" vid="{208FF17F-C249-4E4A-9551-A4B6FB3AA3A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23</Words>
  <Application>Microsoft Office PowerPoint</Application>
  <PresentationFormat>Custom</PresentationFormat>
  <Paragraphs>234</Paragraphs>
  <Slides>20</Slides>
  <Notes>2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Office Theme</vt:lpstr>
      <vt:lpstr>1_Office Theme</vt:lpstr>
      <vt:lpstr>White</vt:lpstr>
      <vt:lpstr>Theme-Covid-Vax</vt:lpstr>
      <vt:lpstr>think-cell Slide</vt:lpstr>
      <vt:lpstr>PowerPoint Presentation</vt:lpstr>
      <vt:lpstr> Instruções para uso deste gui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o faço um agendamento?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tler, Katie (DPH)</dc:creator>
  <cp:lastModifiedBy>TR3</cp:lastModifiedBy>
  <cp:revision>543</cp:revision>
  <dcterms:created xsi:type="dcterms:W3CDTF">2021-01-16T16:40:21Z</dcterms:created>
  <dcterms:modified xsi:type="dcterms:W3CDTF">2022-01-27T20:45:59Z</dcterms:modified>
</cp:coreProperties>
</file>